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>
  <p:sldMasterIdLst>
    <p:sldMasterId id="2147483648" r:id="rId1"/>
    <p:sldMasterId id="2147483654" r:id="rId2"/>
    <p:sldMasterId id="2147483658" r:id="rId3"/>
  </p:sldMasterIdLst>
  <p:notesMasterIdLst>
    <p:notesMasterId r:id="rId6"/>
  </p:notesMasterIdLst>
  <p:handoutMasterIdLst>
    <p:handoutMasterId r:id="rId7"/>
  </p:handoutMasterIdLst>
  <p:sldIdLst>
    <p:sldId id="4235" r:id="rId4"/>
    <p:sldId id="4236" r:id="rId5"/>
  </p:sldIdLst>
  <p:sldSz cx="11949113" cy="6721475"/>
  <p:notesSz cx="6805613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376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096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753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4730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1930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198495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5695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3">
          <p15:clr>
            <a:srgbClr val="A4A3A4"/>
          </p15:clr>
        </p15:guide>
        <p15:guide id="2" pos="7347">
          <p15:clr>
            <a:srgbClr val="A4A3A4"/>
          </p15:clr>
        </p15:guide>
        <p15:guide id="3" orient="horz" pos="2321">
          <p15:clr>
            <a:srgbClr val="A4A3A4"/>
          </p15:clr>
        </p15:guide>
        <p15:guide id="4" orient="horz" pos="144">
          <p15:clr>
            <a:srgbClr val="A4A3A4"/>
          </p15:clr>
        </p15:guide>
        <p15:guide id="5" orient="horz" pos="1346">
          <p15:clr>
            <a:srgbClr val="A4A3A4"/>
          </p15:clr>
        </p15:guide>
        <p15:guide id="6" pos="37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n liyang" initials="fl" lastIdx="1" clrIdx="0">
    <p:extLst>
      <p:ext uri="{19B8F6BF-5375-455C-9EA6-DF929625EA0E}">
        <p15:presenceInfo xmlns:p15="http://schemas.microsoft.com/office/powerpoint/2012/main" userId="cfbbe7655859252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AAA"/>
    <a:srgbClr val="FC0004"/>
    <a:srgbClr val="00B0F0"/>
    <a:srgbClr val="FEFEFE"/>
    <a:srgbClr val="F27E13"/>
    <a:srgbClr val="F8CAA9"/>
    <a:srgbClr val="FF944D"/>
    <a:srgbClr val="099CEC"/>
    <a:srgbClr val="00973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65" autoAdjust="0"/>
    <p:restoredTop sz="93858" autoAdjust="0"/>
  </p:normalViewPr>
  <p:slideViewPr>
    <p:cSldViewPr snapToGrid="0" snapToObjects="1">
      <p:cViewPr varScale="1">
        <p:scale>
          <a:sx n="81" d="100"/>
          <a:sy n="81" d="100"/>
        </p:scale>
        <p:origin x="504" y="96"/>
      </p:cViewPr>
      <p:guideLst>
        <p:guide pos="203"/>
        <p:guide pos="7347"/>
        <p:guide orient="horz" pos="2321"/>
        <p:guide orient="horz" pos="144"/>
        <p:guide orient="horz" pos="1346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0"/>
        <p:guide pos="2124"/>
        <p:guide orient="horz" pos="3131"/>
        <p:guide pos="2144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82600" y="622300"/>
            <a:ext cx="7777163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  <a:effectLst/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114" y="5340802"/>
            <a:ext cx="5799510" cy="122648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s-ES_tradnl" altLang="zh-CN" noProof="0"/>
              <a:t>Click to edit Master text styles</a:t>
            </a:r>
          </a:p>
          <a:p>
            <a:pPr lvl="1"/>
            <a:r>
              <a:rPr lang="es-ES_tradnl" altLang="zh-CN" noProof="0"/>
              <a:t>Second level</a:t>
            </a:r>
          </a:p>
          <a:p>
            <a:pPr lvl="2"/>
            <a:r>
              <a:rPr lang="es-ES_tradnl" altLang="zh-CN" noProof="0"/>
              <a:t>Third level</a:t>
            </a:r>
          </a:p>
          <a:p>
            <a:pPr lvl="3"/>
            <a:r>
              <a:rPr lang="es-ES_tradnl" altLang="zh-CN" noProof="0"/>
              <a:t>Fourth level</a:t>
            </a:r>
          </a:p>
          <a:p>
            <a:pPr lvl="4"/>
            <a:r>
              <a:rPr lang="es-ES_tradnl" altLang="zh-CN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3466" y="9558132"/>
            <a:ext cx="539899" cy="1852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s-ES_tradnl" altLang="zh-CN" smtClean="0"/>
              <a:t>‹#›</a:t>
            </a:fld>
            <a:endParaRPr lang="zh-CN" altLang="es-ES_tradnl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3299" y="110624"/>
            <a:ext cx="66" cy="1235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zh-CN" alt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7475" indent="-115570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99720" indent="-180975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26720" indent="-125095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2925" indent="-114300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473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3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6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21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2993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45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47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1612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49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1715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平行四边形 14"/>
          <p:cNvSpPr/>
          <p:nvPr/>
        </p:nvSpPr>
        <p:spPr>
          <a:xfrm>
            <a:off x="9661295" y="6421867"/>
            <a:ext cx="1768705" cy="318086"/>
          </a:xfrm>
          <a:prstGeom prst="parallelogram">
            <a:avLst/>
          </a:prstGeom>
          <a:solidFill>
            <a:srgbClr val="EB54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grpSp>
        <p:nvGrpSpPr>
          <p:cNvPr id="7" name="组 6"/>
          <p:cNvGrpSpPr/>
          <p:nvPr userDrawn="1"/>
        </p:nvGrpSpPr>
        <p:grpSpPr>
          <a:xfrm>
            <a:off x="79841" y="-94620"/>
            <a:ext cx="400720" cy="476045"/>
            <a:chOff x="81464" y="-96542"/>
            <a:chExt cx="408865" cy="485714"/>
          </a:xfrm>
        </p:grpSpPr>
        <p:sp>
          <p:nvSpPr>
            <p:cNvPr id="8" name="矩形 7"/>
            <p:cNvSpPr/>
            <p:nvPr/>
          </p:nvSpPr>
          <p:spPr>
            <a:xfrm>
              <a:off x="81464" y="-96542"/>
              <a:ext cx="344557" cy="344557"/>
            </a:xfrm>
            <a:prstGeom prst="rect">
              <a:avLst/>
            </a:prstGeom>
            <a:solidFill>
              <a:srgbClr val="005E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570"/>
                <a:t>   </a:t>
              </a:r>
              <a:endParaRPr kumimoji="1" lang="zh-CN" altLang="en-US" sz="1570" dirty="0"/>
            </a:p>
          </p:txBody>
        </p:sp>
        <p:sp>
          <p:nvSpPr>
            <p:cNvPr id="9" name="矩形 8"/>
            <p:cNvSpPr/>
            <p:nvPr/>
          </p:nvSpPr>
          <p:spPr>
            <a:xfrm>
              <a:off x="206189" y="106857"/>
              <a:ext cx="284140" cy="282315"/>
            </a:xfrm>
            <a:prstGeom prst="rect">
              <a:avLst/>
            </a:prstGeom>
            <a:solidFill>
              <a:srgbClr val="E953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570"/>
                <a:t>   </a:t>
              </a:r>
              <a:endParaRPr kumimoji="1" lang="zh-CN" altLang="en-US" sz="1570" dirty="0"/>
            </a:p>
          </p:txBody>
        </p:sp>
      </p:grpSp>
      <p:sp>
        <p:nvSpPr>
          <p:cNvPr id="13" name="平行四边形 12"/>
          <p:cNvSpPr/>
          <p:nvPr/>
        </p:nvSpPr>
        <p:spPr>
          <a:xfrm>
            <a:off x="-139214" y="6421868"/>
            <a:ext cx="9133836" cy="318087"/>
          </a:xfrm>
          <a:prstGeom prst="parallelogram">
            <a:avLst/>
          </a:prstGeom>
          <a:solidFill>
            <a:srgbClr val="EB54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10800000" flipV="1">
            <a:off x="8878046" y="6421868"/>
            <a:ext cx="925327" cy="318087"/>
          </a:xfrm>
          <a:prstGeom prst="rect">
            <a:avLst/>
          </a:prstGeom>
        </p:spPr>
      </p:pic>
      <p:sp>
        <p:nvSpPr>
          <p:cNvPr id="16" name="平行四边形 15"/>
          <p:cNvSpPr/>
          <p:nvPr/>
        </p:nvSpPr>
        <p:spPr>
          <a:xfrm>
            <a:off x="-139215" y="6692349"/>
            <a:ext cx="9133836" cy="90184"/>
          </a:xfrm>
          <a:prstGeom prst="parallelogram">
            <a:avLst/>
          </a:prstGeom>
          <a:solidFill>
            <a:srgbClr val="005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sp>
        <p:nvSpPr>
          <p:cNvPr id="17" name="平行四边形 16"/>
          <p:cNvSpPr/>
          <p:nvPr/>
        </p:nvSpPr>
        <p:spPr>
          <a:xfrm>
            <a:off x="9639706" y="6685397"/>
            <a:ext cx="1720444" cy="45719"/>
          </a:xfrm>
          <a:prstGeom prst="parallelogram">
            <a:avLst/>
          </a:prstGeom>
          <a:solidFill>
            <a:srgbClr val="005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321" y="6488606"/>
            <a:ext cx="1758431" cy="153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15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5" cstate="email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42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45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0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43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Relationship Id="rId9" Type="http://schemas.openxmlformats.org/officeDocument/2006/relationships/image" Target="NUL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1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365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8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2" r:id="rId4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37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7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82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7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7F7C97C-8014-4D0C-B105-591838E5E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054" y="1265990"/>
            <a:ext cx="9841392" cy="5125158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D38E0BDD-846F-4A89-9C48-B1E415422088}"/>
              </a:ext>
            </a:extLst>
          </p:cNvPr>
          <p:cNvSpPr/>
          <p:nvPr/>
        </p:nvSpPr>
        <p:spPr>
          <a:xfrm>
            <a:off x="1306290" y="1900052"/>
            <a:ext cx="454516" cy="665018"/>
          </a:xfrm>
          <a:prstGeom prst="rect">
            <a:avLst/>
          </a:prstGeom>
          <a:solidFill>
            <a:srgbClr val="00B0F0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SH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D3E2818-17B2-4F66-8CF6-7D593D50793C}"/>
              </a:ext>
            </a:extLst>
          </p:cNvPr>
          <p:cNvSpPr/>
          <p:nvPr/>
        </p:nvSpPr>
        <p:spPr>
          <a:xfrm>
            <a:off x="1304661" y="3360728"/>
            <a:ext cx="454516" cy="2926030"/>
          </a:xfrm>
          <a:prstGeom prst="rect">
            <a:avLst/>
          </a:prstGeom>
          <a:solidFill>
            <a:srgbClr val="FCCAAA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SZ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8751065A-A62C-4A78-A8B5-24FDEC343EA2}"/>
              </a:ext>
            </a:extLst>
          </p:cNvPr>
          <p:cNvSpPr/>
          <p:nvPr/>
        </p:nvSpPr>
        <p:spPr>
          <a:xfrm>
            <a:off x="133163" y="1959429"/>
            <a:ext cx="769362" cy="570016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tx1"/>
                </a:solidFill>
              </a:rPr>
              <a:t>NAS</a:t>
            </a:r>
            <a:endParaRPr lang="zh-CN" altLang="en-US" sz="1000" b="1" dirty="0" err="1">
              <a:solidFill>
                <a:schemeClr val="tx1"/>
              </a:solidFill>
            </a:endParaRPr>
          </a:p>
        </p:txBody>
      </p: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77FA1EB6-B9EF-4E30-8B75-56A444963D9E}"/>
              </a:ext>
            </a:extLst>
          </p:cNvPr>
          <p:cNvCxnSpPr>
            <a:cxnSpLocks/>
            <a:stCxn id="7" idx="4"/>
            <a:endCxn id="4" idx="1"/>
          </p:cNvCxnSpPr>
          <p:nvPr/>
        </p:nvCxnSpPr>
        <p:spPr>
          <a:xfrm rot="16200000" flipH="1">
            <a:off x="-235897" y="3283185"/>
            <a:ext cx="2294298" cy="786817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DE0640BB-C00D-473F-A9C2-D209C10FE562}"/>
              </a:ext>
            </a:extLst>
          </p:cNvPr>
          <p:cNvCxnSpPr>
            <a:stCxn id="7" idx="6"/>
            <a:endCxn id="3" idx="1"/>
          </p:cNvCxnSpPr>
          <p:nvPr/>
        </p:nvCxnSpPr>
        <p:spPr>
          <a:xfrm flipV="1">
            <a:off x="902525" y="2232561"/>
            <a:ext cx="403765" cy="11876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乘号 16">
            <a:extLst>
              <a:ext uri="{FF2B5EF4-FFF2-40B4-BE49-F238E27FC236}">
                <a16:creationId xmlns:a16="http://schemas.microsoft.com/office/drawing/2014/main" id="{D1E6BA1A-9AD7-458A-964E-1F1E6DCD0270}"/>
              </a:ext>
            </a:extLst>
          </p:cNvPr>
          <p:cNvSpPr/>
          <p:nvPr/>
        </p:nvSpPr>
        <p:spPr>
          <a:xfrm>
            <a:off x="794264" y="4730525"/>
            <a:ext cx="201885" cy="210176"/>
          </a:xfrm>
          <a:prstGeom prst="mathMultiply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 err="1">
              <a:solidFill>
                <a:schemeClr val="tx1"/>
              </a:solidFill>
            </a:endParaRPr>
          </a:p>
        </p:txBody>
      </p:sp>
      <p:sp>
        <p:nvSpPr>
          <p:cNvPr id="18" name="标题 1">
            <a:extLst>
              <a:ext uri="{FF2B5EF4-FFF2-40B4-BE49-F238E27FC236}">
                <a16:creationId xmlns:a16="http://schemas.microsoft.com/office/drawing/2014/main" id="{655FC81D-968C-4133-BE91-539EFD8E4C3F}"/>
              </a:ext>
            </a:extLst>
          </p:cNvPr>
          <p:cNvSpPr txBox="1"/>
          <p:nvPr/>
        </p:nvSpPr>
        <p:spPr>
          <a:xfrm>
            <a:off x="754327" y="91056"/>
            <a:ext cx="10515600" cy="470259"/>
          </a:xfrm>
          <a:prstGeom prst="rect">
            <a:avLst/>
          </a:prstGeom>
        </p:spPr>
        <p:txBody>
          <a:bodyPr/>
          <a:lstStyle>
            <a:lvl1pPr algn="l" defTabSz="89471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1315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37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09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1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BD</a:t>
            </a:r>
            <a:r>
              <a:rPr lang="zh-CN" altLang="en-US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飞平台建设</a:t>
            </a:r>
            <a:r>
              <a:rPr lang="en-US" altLang="zh-CN" sz="28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20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PC Based</a:t>
            </a:r>
            <a:r>
              <a:rPr lang="en-US" altLang="zh-CN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C19FE0D-4BD8-4A5F-BA25-8406B911254B}"/>
              </a:ext>
            </a:extLst>
          </p:cNvPr>
          <p:cNvSpPr/>
          <p:nvPr/>
        </p:nvSpPr>
        <p:spPr>
          <a:xfrm>
            <a:off x="2078182" y="1891348"/>
            <a:ext cx="7172696" cy="665018"/>
          </a:xfrm>
          <a:prstGeom prst="rect">
            <a:avLst/>
          </a:prstGeom>
          <a:solidFill>
            <a:srgbClr val="FEFEFE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 err="1">
              <a:solidFill>
                <a:schemeClr val="tx1"/>
              </a:solidFill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D32727DC-E7F1-43B7-BE89-5EE4BA4CDE5D}"/>
              </a:ext>
            </a:extLst>
          </p:cNvPr>
          <p:cNvGrpSpPr/>
          <p:nvPr/>
        </p:nvGrpSpPr>
        <p:grpSpPr>
          <a:xfrm>
            <a:off x="2291937" y="2154302"/>
            <a:ext cx="301391" cy="360928"/>
            <a:chOff x="403761" y="824269"/>
            <a:chExt cx="301391" cy="360928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29276778-0BD8-422A-AD73-659F82A4CD6E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EC7E4660-284F-40CD-B6D1-83FEF78EA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DF2DD0BA-5A1F-4095-859A-B3542036ADEA}"/>
              </a:ext>
            </a:extLst>
          </p:cNvPr>
          <p:cNvGrpSpPr/>
          <p:nvPr/>
        </p:nvGrpSpPr>
        <p:grpSpPr>
          <a:xfrm>
            <a:off x="3017577" y="2151966"/>
            <a:ext cx="301391" cy="360928"/>
            <a:chOff x="403761" y="824269"/>
            <a:chExt cx="301391" cy="360928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87EB6ECB-CAC6-4EBF-B8E9-57B0D5C6B06C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07C2B6FD-0963-48C7-97DB-97AC8D1DB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F8345AB6-5479-4B97-BD22-1D4181942ABB}"/>
              </a:ext>
            </a:extLst>
          </p:cNvPr>
          <p:cNvGrpSpPr/>
          <p:nvPr/>
        </p:nvGrpSpPr>
        <p:grpSpPr>
          <a:xfrm>
            <a:off x="3785859" y="2151967"/>
            <a:ext cx="301391" cy="360928"/>
            <a:chOff x="403761" y="824269"/>
            <a:chExt cx="301391" cy="360928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024A6DB2-CCE1-459B-A3BF-8A4CFA2F4B10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9" name="图片 28">
              <a:extLst>
                <a:ext uri="{FF2B5EF4-FFF2-40B4-BE49-F238E27FC236}">
                  <a16:creationId xmlns:a16="http://schemas.microsoft.com/office/drawing/2014/main" id="{6BD473AB-42D6-46B5-B903-B32344CC2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A49463BD-2EF4-4399-8C9A-076CC0C8385E}"/>
              </a:ext>
            </a:extLst>
          </p:cNvPr>
          <p:cNvGrpSpPr/>
          <p:nvPr/>
        </p:nvGrpSpPr>
        <p:grpSpPr>
          <a:xfrm>
            <a:off x="4586880" y="2173381"/>
            <a:ext cx="301391" cy="360928"/>
            <a:chOff x="403761" y="824269"/>
            <a:chExt cx="301391" cy="360928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2E5CB567-1429-47F4-8C86-45A0ABB3A6AC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74449493-7048-4D05-AAF6-725EBA55B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49D4DCE-E791-4823-B3B8-338FD8DF2133}"/>
              </a:ext>
            </a:extLst>
          </p:cNvPr>
          <p:cNvGrpSpPr/>
          <p:nvPr/>
        </p:nvGrpSpPr>
        <p:grpSpPr>
          <a:xfrm>
            <a:off x="8822542" y="2161539"/>
            <a:ext cx="301391" cy="360928"/>
            <a:chOff x="403761" y="824269"/>
            <a:chExt cx="301391" cy="360928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F71F78FE-D6CB-4FCC-9E67-B342F1CA4462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C2B553CE-3728-43EF-8C51-F66192F33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712E6291-6B01-4A0D-B3D2-09491915E8B9}"/>
              </a:ext>
            </a:extLst>
          </p:cNvPr>
          <p:cNvGrpSpPr/>
          <p:nvPr/>
        </p:nvGrpSpPr>
        <p:grpSpPr>
          <a:xfrm>
            <a:off x="8054636" y="2151967"/>
            <a:ext cx="301391" cy="360928"/>
            <a:chOff x="403761" y="824269"/>
            <a:chExt cx="301391" cy="360928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D12A00E2-CB59-40C4-BC4C-E067A697A476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64380661-FFC2-49B3-8325-ADB999DCB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3700FB06-F074-4DD6-BF57-6098EDD18FD9}"/>
              </a:ext>
            </a:extLst>
          </p:cNvPr>
          <p:cNvGrpSpPr/>
          <p:nvPr/>
        </p:nvGrpSpPr>
        <p:grpSpPr>
          <a:xfrm>
            <a:off x="7238854" y="2166407"/>
            <a:ext cx="301391" cy="360928"/>
            <a:chOff x="403761" y="824269"/>
            <a:chExt cx="301391" cy="360928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F085E3F8-10D4-4626-AE1F-CA1F24990605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02B4E963-C428-4324-AAC8-63905B9D4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4B73ACAE-CD5B-4582-8A51-67E95BCE27E8}"/>
              </a:ext>
            </a:extLst>
          </p:cNvPr>
          <p:cNvGrpSpPr/>
          <p:nvPr/>
        </p:nvGrpSpPr>
        <p:grpSpPr>
          <a:xfrm>
            <a:off x="6220422" y="2166407"/>
            <a:ext cx="301391" cy="360928"/>
            <a:chOff x="403761" y="824269"/>
            <a:chExt cx="301391" cy="360928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637EE114-356E-4CEB-9BFA-C14DA141AE37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4" name="图片 43">
              <a:extLst>
                <a:ext uri="{FF2B5EF4-FFF2-40B4-BE49-F238E27FC236}">
                  <a16:creationId xmlns:a16="http://schemas.microsoft.com/office/drawing/2014/main" id="{F838424F-6A5D-4473-AF73-C480C5EE2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sp>
        <p:nvSpPr>
          <p:cNvPr id="45" name="椭圆 44">
            <a:extLst>
              <a:ext uri="{FF2B5EF4-FFF2-40B4-BE49-F238E27FC236}">
                <a16:creationId xmlns:a16="http://schemas.microsoft.com/office/drawing/2014/main" id="{5E058730-C018-4E08-8C06-04CFDEBA96CF}"/>
              </a:ext>
            </a:extLst>
          </p:cNvPr>
          <p:cNvSpPr/>
          <p:nvPr/>
        </p:nvSpPr>
        <p:spPr>
          <a:xfrm>
            <a:off x="5164071" y="2135695"/>
            <a:ext cx="646052" cy="365324"/>
          </a:xfrm>
          <a:prstGeom prst="ellipse">
            <a:avLst/>
          </a:prstGeom>
          <a:solidFill>
            <a:srgbClr val="FC000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2"/>
                </a:solidFill>
              </a:rPr>
              <a:t>GBD</a:t>
            </a:r>
          </a:p>
          <a:p>
            <a:pPr algn="ctr"/>
            <a:r>
              <a:rPr lang="en-US" altLang="zh-CN" sz="900" dirty="0">
                <a:solidFill>
                  <a:schemeClr val="bg2"/>
                </a:solidFill>
              </a:rPr>
              <a:t>API</a:t>
            </a:r>
            <a:endParaRPr lang="zh-CN" altLang="en-US" sz="900" dirty="0" err="1">
              <a:solidFill>
                <a:schemeClr val="bg2"/>
              </a:solidFill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066F492-D8D3-4E44-B85B-B37998E31321}"/>
              </a:ext>
            </a:extLst>
          </p:cNvPr>
          <p:cNvSpPr txBox="1"/>
          <p:nvPr/>
        </p:nvSpPr>
        <p:spPr>
          <a:xfrm>
            <a:off x="4733383" y="1827918"/>
            <a:ext cx="1481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/>
              <a:t>GBD</a:t>
            </a:r>
            <a:r>
              <a:rPr lang="zh-CN" altLang="en-US" sz="1400" b="1" dirty="0"/>
              <a:t>大数据专区</a:t>
            </a:r>
          </a:p>
        </p:txBody>
      </p: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BC541027-E745-4378-B25F-C227EFB5224F}"/>
              </a:ext>
            </a:extLst>
          </p:cNvPr>
          <p:cNvCxnSpPr>
            <a:cxnSpLocks/>
            <a:stCxn id="4" idx="0"/>
            <a:endCxn id="3" idx="2"/>
          </p:cNvCxnSpPr>
          <p:nvPr/>
        </p:nvCxnSpPr>
        <p:spPr>
          <a:xfrm flipV="1">
            <a:off x="1531919" y="2565070"/>
            <a:ext cx="1629" cy="795658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E021F053-EFA2-4CC0-8160-0AA94035A76F}"/>
              </a:ext>
            </a:extLst>
          </p:cNvPr>
          <p:cNvSpPr txBox="1"/>
          <p:nvPr/>
        </p:nvSpPr>
        <p:spPr>
          <a:xfrm>
            <a:off x="1107790" y="2930181"/>
            <a:ext cx="8114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b="1" dirty="0" err="1"/>
              <a:t>jdbc,hdfs</a:t>
            </a:r>
            <a:endParaRPr lang="zh-CN" altLang="en-US" sz="1100" b="1" dirty="0"/>
          </a:p>
        </p:txBody>
      </p: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C57D0A0D-EA0A-48FE-AEE3-2F5AB08641FF}"/>
              </a:ext>
            </a:extLst>
          </p:cNvPr>
          <p:cNvCxnSpPr>
            <a:cxnSpLocks/>
          </p:cNvCxnSpPr>
          <p:nvPr/>
        </p:nvCxnSpPr>
        <p:spPr>
          <a:xfrm flipH="1">
            <a:off x="1816305" y="1360991"/>
            <a:ext cx="11628" cy="5125158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矩形 57">
            <a:extLst>
              <a:ext uri="{FF2B5EF4-FFF2-40B4-BE49-F238E27FC236}">
                <a16:creationId xmlns:a16="http://schemas.microsoft.com/office/drawing/2014/main" id="{F67FB043-38F9-460A-9072-A06AD8A9E0A0}"/>
              </a:ext>
            </a:extLst>
          </p:cNvPr>
          <p:cNvSpPr/>
          <p:nvPr/>
        </p:nvSpPr>
        <p:spPr>
          <a:xfrm>
            <a:off x="190797" y="2701726"/>
            <a:ext cx="3898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666666"/>
                </a:solidFill>
              </a:rPr>
              <a:t>①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DB23C115-6345-4D5C-B423-292AF45550CB}"/>
              </a:ext>
            </a:extLst>
          </p:cNvPr>
          <p:cNvSpPr/>
          <p:nvPr/>
        </p:nvSpPr>
        <p:spPr>
          <a:xfrm>
            <a:off x="1223365" y="2633494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666666"/>
                </a:solidFill>
              </a:rPr>
              <a:t>②</a:t>
            </a:r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F439B82D-B890-4F08-B62B-8D4A08D5B4DA}"/>
              </a:ext>
            </a:extLst>
          </p:cNvPr>
          <p:cNvSpPr txBox="1"/>
          <p:nvPr/>
        </p:nvSpPr>
        <p:spPr>
          <a:xfrm>
            <a:off x="863367" y="557039"/>
            <a:ext cx="17299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网络，路由打通</a:t>
            </a:r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数据，异地传输</a:t>
            </a:r>
          </a:p>
        </p:txBody>
      </p:sp>
    </p:spTree>
    <p:extLst>
      <p:ext uri="{BB962C8B-B14F-4D97-AF65-F5344CB8AC3E}">
        <p14:creationId xmlns:p14="http://schemas.microsoft.com/office/powerpoint/2010/main" val="4045792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87F7C97C-8014-4D0C-B105-591838E5E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054" y="1265990"/>
            <a:ext cx="9841392" cy="5125158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D38E0BDD-846F-4A89-9C48-B1E415422088}"/>
              </a:ext>
            </a:extLst>
          </p:cNvPr>
          <p:cNvSpPr/>
          <p:nvPr/>
        </p:nvSpPr>
        <p:spPr>
          <a:xfrm>
            <a:off x="1306290" y="1900052"/>
            <a:ext cx="454516" cy="665018"/>
          </a:xfrm>
          <a:prstGeom prst="rect">
            <a:avLst/>
          </a:prstGeom>
          <a:solidFill>
            <a:srgbClr val="00B0F0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SH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D3E2818-17B2-4F66-8CF6-7D593D50793C}"/>
              </a:ext>
            </a:extLst>
          </p:cNvPr>
          <p:cNvSpPr/>
          <p:nvPr/>
        </p:nvSpPr>
        <p:spPr>
          <a:xfrm>
            <a:off x="1304661" y="3360728"/>
            <a:ext cx="454516" cy="2926030"/>
          </a:xfrm>
          <a:prstGeom prst="rect">
            <a:avLst/>
          </a:prstGeom>
          <a:solidFill>
            <a:srgbClr val="FCCAAA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SZ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8751065A-A62C-4A78-A8B5-24FDEC343EA2}"/>
              </a:ext>
            </a:extLst>
          </p:cNvPr>
          <p:cNvSpPr/>
          <p:nvPr/>
        </p:nvSpPr>
        <p:spPr>
          <a:xfrm>
            <a:off x="47424" y="1959429"/>
            <a:ext cx="912362" cy="570016"/>
          </a:xfrm>
          <a:prstGeom prst="ellips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tx1"/>
                </a:solidFill>
              </a:rPr>
              <a:t>Data Source</a:t>
            </a:r>
            <a:endParaRPr lang="zh-CN" altLang="en-US" sz="1000" b="1" dirty="0" err="1">
              <a:solidFill>
                <a:schemeClr val="tx1"/>
              </a:solidFill>
            </a:endParaRP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DE0640BB-C00D-473F-A9C2-D209C10FE562}"/>
              </a:ext>
            </a:extLst>
          </p:cNvPr>
          <p:cNvCxnSpPr>
            <a:cxnSpLocks/>
            <a:stCxn id="7" idx="6"/>
            <a:endCxn id="3" idx="1"/>
          </p:cNvCxnSpPr>
          <p:nvPr/>
        </p:nvCxnSpPr>
        <p:spPr>
          <a:xfrm flipV="1">
            <a:off x="959786" y="2232561"/>
            <a:ext cx="346504" cy="11876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标题 1">
            <a:extLst>
              <a:ext uri="{FF2B5EF4-FFF2-40B4-BE49-F238E27FC236}">
                <a16:creationId xmlns:a16="http://schemas.microsoft.com/office/drawing/2014/main" id="{655FC81D-968C-4133-BE91-539EFD8E4C3F}"/>
              </a:ext>
            </a:extLst>
          </p:cNvPr>
          <p:cNvSpPr txBox="1"/>
          <p:nvPr/>
        </p:nvSpPr>
        <p:spPr>
          <a:xfrm>
            <a:off x="754327" y="91056"/>
            <a:ext cx="10515600" cy="470259"/>
          </a:xfrm>
          <a:prstGeom prst="rect">
            <a:avLst/>
          </a:prstGeom>
        </p:spPr>
        <p:txBody>
          <a:bodyPr/>
          <a:lstStyle>
            <a:lvl1pPr algn="l" defTabSz="89471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1315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37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09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165" algn="l" defTabSz="89471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BD</a:t>
            </a:r>
            <a:r>
              <a:rPr lang="zh-CN" altLang="en-US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飞平台建设</a:t>
            </a:r>
            <a:r>
              <a:rPr lang="en-US" altLang="zh-CN" sz="28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20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PC Based</a:t>
            </a:r>
            <a:r>
              <a:rPr lang="en-US" altLang="zh-CN" sz="2400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4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C19FE0D-4BD8-4A5F-BA25-8406B911254B}"/>
              </a:ext>
            </a:extLst>
          </p:cNvPr>
          <p:cNvSpPr/>
          <p:nvPr/>
        </p:nvSpPr>
        <p:spPr>
          <a:xfrm>
            <a:off x="2078182" y="1891348"/>
            <a:ext cx="7172696" cy="665018"/>
          </a:xfrm>
          <a:prstGeom prst="rect">
            <a:avLst/>
          </a:prstGeom>
          <a:solidFill>
            <a:srgbClr val="FEFEFE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 err="1">
              <a:solidFill>
                <a:schemeClr val="tx1"/>
              </a:solidFill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D32727DC-E7F1-43B7-BE89-5EE4BA4CDE5D}"/>
              </a:ext>
            </a:extLst>
          </p:cNvPr>
          <p:cNvGrpSpPr/>
          <p:nvPr/>
        </p:nvGrpSpPr>
        <p:grpSpPr>
          <a:xfrm>
            <a:off x="2291937" y="2154302"/>
            <a:ext cx="301391" cy="360928"/>
            <a:chOff x="403761" y="824269"/>
            <a:chExt cx="301391" cy="360928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29276778-0BD8-422A-AD73-659F82A4CD6E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EC7E4660-284F-40CD-B6D1-83FEF78EA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DF2DD0BA-5A1F-4095-859A-B3542036ADEA}"/>
              </a:ext>
            </a:extLst>
          </p:cNvPr>
          <p:cNvGrpSpPr/>
          <p:nvPr/>
        </p:nvGrpSpPr>
        <p:grpSpPr>
          <a:xfrm>
            <a:off x="3017577" y="2151966"/>
            <a:ext cx="301391" cy="360928"/>
            <a:chOff x="403761" y="824269"/>
            <a:chExt cx="301391" cy="360928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87EB6ECB-CAC6-4EBF-B8E9-57B0D5C6B06C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07C2B6FD-0963-48C7-97DB-97AC8D1DB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F8345AB6-5479-4B97-BD22-1D4181942ABB}"/>
              </a:ext>
            </a:extLst>
          </p:cNvPr>
          <p:cNvGrpSpPr/>
          <p:nvPr/>
        </p:nvGrpSpPr>
        <p:grpSpPr>
          <a:xfrm>
            <a:off x="3785859" y="2151967"/>
            <a:ext cx="301391" cy="360928"/>
            <a:chOff x="403761" y="824269"/>
            <a:chExt cx="301391" cy="360928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024A6DB2-CCE1-459B-A3BF-8A4CFA2F4B10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9" name="图片 28">
              <a:extLst>
                <a:ext uri="{FF2B5EF4-FFF2-40B4-BE49-F238E27FC236}">
                  <a16:creationId xmlns:a16="http://schemas.microsoft.com/office/drawing/2014/main" id="{6BD473AB-42D6-46B5-B903-B32344CC2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A49463BD-2EF4-4399-8C9A-076CC0C8385E}"/>
              </a:ext>
            </a:extLst>
          </p:cNvPr>
          <p:cNvGrpSpPr/>
          <p:nvPr/>
        </p:nvGrpSpPr>
        <p:grpSpPr>
          <a:xfrm>
            <a:off x="4586880" y="2173381"/>
            <a:ext cx="301391" cy="360928"/>
            <a:chOff x="403761" y="824269"/>
            <a:chExt cx="301391" cy="360928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2E5CB567-1429-47F4-8C86-45A0ABB3A6AC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74449493-7048-4D05-AAF6-725EBA55B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49D4DCE-E791-4823-B3B8-338FD8DF2133}"/>
              </a:ext>
            </a:extLst>
          </p:cNvPr>
          <p:cNvGrpSpPr/>
          <p:nvPr/>
        </p:nvGrpSpPr>
        <p:grpSpPr>
          <a:xfrm>
            <a:off x="8822542" y="2161539"/>
            <a:ext cx="301391" cy="360928"/>
            <a:chOff x="403761" y="824269"/>
            <a:chExt cx="301391" cy="360928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F71F78FE-D6CB-4FCC-9E67-B342F1CA4462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C2B553CE-3728-43EF-8C51-F66192F33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712E6291-6B01-4A0D-B3D2-09491915E8B9}"/>
              </a:ext>
            </a:extLst>
          </p:cNvPr>
          <p:cNvGrpSpPr/>
          <p:nvPr/>
        </p:nvGrpSpPr>
        <p:grpSpPr>
          <a:xfrm>
            <a:off x="8054636" y="2151967"/>
            <a:ext cx="301391" cy="360928"/>
            <a:chOff x="403761" y="824269"/>
            <a:chExt cx="301391" cy="360928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D12A00E2-CB59-40C4-BC4C-E067A697A476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64380661-FFC2-49B3-8325-ADB999DCB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3700FB06-F074-4DD6-BF57-6098EDD18FD9}"/>
              </a:ext>
            </a:extLst>
          </p:cNvPr>
          <p:cNvGrpSpPr/>
          <p:nvPr/>
        </p:nvGrpSpPr>
        <p:grpSpPr>
          <a:xfrm>
            <a:off x="7238854" y="2166407"/>
            <a:ext cx="301391" cy="360928"/>
            <a:chOff x="403761" y="824269"/>
            <a:chExt cx="301391" cy="360928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F085E3F8-10D4-4626-AE1F-CA1F24990605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02B4E963-C428-4324-AAC8-63905B9D4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4B73ACAE-CD5B-4582-8A51-67E95BCE27E8}"/>
              </a:ext>
            </a:extLst>
          </p:cNvPr>
          <p:cNvGrpSpPr/>
          <p:nvPr/>
        </p:nvGrpSpPr>
        <p:grpSpPr>
          <a:xfrm>
            <a:off x="6220422" y="2166407"/>
            <a:ext cx="301391" cy="360928"/>
            <a:chOff x="403761" y="824269"/>
            <a:chExt cx="301391" cy="360928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637EE114-356E-4CEB-9BFA-C14DA141AE37}"/>
                </a:ext>
              </a:extLst>
            </p:cNvPr>
            <p:cNvSpPr/>
            <p:nvPr/>
          </p:nvSpPr>
          <p:spPr>
            <a:xfrm>
              <a:off x="403761" y="824269"/>
              <a:ext cx="301391" cy="360928"/>
            </a:xfrm>
            <a:prstGeom prst="rect">
              <a:avLst/>
            </a:prstGeom>
            <a:solidFill>
              <a:srgbClr val="00B0F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44" name="图片 43">
              <a:extLst>
                <a:ext uri="{FF2B5EF4-FFF2-40B4-BE49-F238E27FC236}">
                  <a16:creationId xmlns:a16="http://schemas.microsoft.com/office/drawing/2014/main" id="{F838424F-6A5D-4473-AF73-C480C5EE2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8102" y="895195"/>
              <a:ext cx="209550" cy="219075"/>
            </a:xfrm>
            <a:prstGeom prst="rect">
              <a:avLst/>
            </a:prstGeom>
          </p:spPr>
        </p:pic>
      </p:grpSp>
      <p:sp>
        <p:nvSpPr>
          <p:cNvPr id="45" name="椭圆 44">
            <a:extLst>
              <a:ext uri="{FF2B5EF4-FFF2-40B4-BE49-F238E27FC236}">
                <a16:creationId xmlns:a16="http://schemas.microsoft.com/office/drawing/2014/main" id="{5E058730-C018-4E08-8C06-04CFDEBA96CF}"/>
              </a:ext>
            </a:extLst>
          </p:cNvPr>
          <p:cNvSpPr/>
          <p:nvPr/>
        </p:nvSpPr>
        <p:spPr>
          <a:xfrm>
            <a:off x="5164071" y="2135695"/>
            <a:ext cx="646052" cy="365324"/>
          </a:xfrm>
          <a:prstGeom prst="ellipse">
            <a:avLst/>
          </a:prstGeom>
          <a:solidFill>
            <a:srgbClr val="FC000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2"/>
                </a:solidFill>
              </a:rPr>
              <a:t>GBD</a:t>
            </a:r>
          </a:p>
          <a:p>
            <a:pPr algn="ctr"/>
            <a:r>
              <a:rPr lang="en-US" altLang="zh-CN" sz="900" dirty="0">
                <a:solidFill>
                  <a:schemeClr val="bg2"/>
                </a:solidFill>
              </a:rPr>
              <a:t>API</a:t>
            </a:r>
            <a:endParaRPr lang="zh-CN" altLang="en-US" sz="900" dirty="0" err="1">
              <a:solidFill>
                <a:schemeClr val="bg2"/>
              </a:solidFill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066F492-D8D3-4E44-B85B-B37998E31321}"/>
              </a:ext>
            </a:extLst>
          </p:cNvPr>
          <p:cNvSpPr txBox="1"/>
          <p:nvPr/>
        </p:nvSpPr>
        <p:spPr>
          <a:xfrm>
            <a:off x="4733383" y="1827918"/>
            <a:ext cx="1481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dirty="0"/>
              <a:t>GBD</a:t>
            </a:r>
            <a:r>
              <a:rPr lang="zh-CN" altLang="en-US" sz="1400" b="1" dirty="0"/>
              <a:t>大数据专区</a:t>
            </a:r>
          </a:p>
        </p:txBody>
      </p: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BC541027-E745-4378-B25F-C227EFB5224F}"/>
              </a:ext>
            </a:extLst>
          </p:cNvPr>
          <p:cNvCxnSpPr>
            <a:cxnSpLocks/>
            <a:stCxn id="4" idx="0"/>
            <a:endCxn id="3" idx="2"/>
          </p:cNvCxnSpPr>
          <p:nvPr/>
        </p:nvCxnSpPr>
        <p:spPr>
          <a:xfrm flipV="1">
            <a:off x="1531919" y="2565070"/>
            <a:ext cx="1629" cy="795658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E021F053-EFA2-4CC0-8160-0AA94035A76F}"/>
              </a:ext>
            </a:extLst>
          </p:cNvPr>
          <p:cNvSpPr txBox="1"/>
          <p:nvPr/>
        </p:nvSpPr>
        <p:spPr>
          <a:xfrm>
            <a:off x="1107790" y="2930181"/>
            <a:ext cx="8114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100" b="1" dirty="0" err="1"/>
              <a:t>jdbc,hdfs</a:t>
            </a:r>
            <a:endParaRPr lang="zh-CN" altLang="en-US" sz="1100" b="1" dirty="0"/>
          </a:p>
        </p:txBody>
      </p: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C57D0A0D-EA0A-48FE-AEE3-2F5AB08641FF}"/>
              </a:ext>
            </a:extLst>
          </p:cNvPr>
          <p:cNvCxnSpPr>
            <a:cxnSpLocks/>
          </p:cNvCxnSpPr>
          <p:nvPr/>
        </p:nvCxnSpPr>
        <p:spPr>
          <a:xfrm flipH="1">
            <a:off x="1816305" y="1360991"/>
            <a:ext cx="11628" cy="5125158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矩形 57">
            <a:extLst>
              <a:ext uri="{FF2B5EF4-FFF2-40B4-BE49-F238E27FC236}">
                <a16:creationId xmlns:a16="http://schemas.microsoft.com/office/drawing/2014/main" id="{F67FB043-38F9-460A-9072-A06AD8A9E0A0}"/>
              </a:ext>
            </a:extLst>
          </p:cNvPr>
          <p:cNvSpPr/>
          <p:nvPr/>
        </p:nvSpPr>
        <p:spPr>
          <a:xfrm>
            <a:off x="190797" y="2701726"/>
            <a:ext cx="3898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666666"/>
                </a:solidFill>
              </a:rPr>
              <a:t>①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DB23C115-6345-4D5C-B423-292AF45550CB}"/>
              </a:ext>
            </a:extLst>
          </p:cNvPr>
          <p:cNvSpPr/>
          <p:nvPr/>
        </p:nvSpPr>
        <p:spPr>
          <a:xfrm>
            <a:off x="1223365" y="2633494"/>
            <a:ext cx="3898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666666"/>
                </a:solidFill>
              </a:rPr>
              <a:t>②</a:t>
            </a:r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F439B82D-B890-4F08-B62B-8D4A08D5B4DA}"/>
              </a:ext>
            </a:extLst>
          </p:cNvPr>
          <p:cNvSpPr txBox="1"/>
          <p:nvPr/>
        </p:nvSpPr>
        <p:spPr>
          <a:xfrm>
            <a:off x="863367" y="557039"/>
            <a:ext cx="56268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磁盘存储，搭建</a:t>
            </a:r>
            <a:r>
              <a:rPr lang="en-US" altLang="zh-CN" sz="1400" dirty="0"/>
              <a:t>server</a:t>
            </a:r>
            <a:r>
              <a:rPr lang="zh-CN" altLang="en-US" sz="1400" dirty="0"/>
              <a:t>（临时） </a:t>
            </a:r>
            <a:r>
              <a:rPr lang="en-US" altLang="zh-CN" sz="1400" dirty="0"/>
              <a:t>--</a:t>
            </a:r>
            <a:r>
              <a:rPr lang="zh-CN" altLang="en-US" sz="1400" dirty="0"/>
              <a:t>孙博团队完成试用，寿险准备中</a:t>
            </a:r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推动建设</a:t>
            </a:r>
            <a:r>
              <a:rPr lang="en-US" altLang="zh-CN" sz="1400" dirty="0"/>
              <a:t>GBD</a:t>
            </a:r>
            <a:r>
              <a:rPr lang="zh-CN" altLang="en-US" sz="1400" dirty="0"/>
              <a:t>内</a:t>
            </a:r>
            <a:r>
              <a:rPr lang="en-US" altLang="zh-CN" sz="1400" dirty="0"/>
              <a:t>NAS</a:t>
            </a:r>
            <a:endParaRPr lang="zh-CN" altLang="en-US" sz="1400" dirty="0"/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7CE1C785-9883-4826-B02B-650B2557C415}"/>
              </a:ext>
            </a:extLst>
          </p:cNvPr>
          <p:cNvSpPr/>
          <p:nvPr/>
        </p:nvSpPr>
        <p:spPr>
          <a:xfrm>
            <a:off x="122054" y="4600473"/>
            <a:ext cx="769362" cy="570016"/>
          </a:xfrm>
          <a:prstGeom prst="ellipse">
            <a:avLst/>
          </a:prstGeom>
          <a:solidFill>
            <a:srgbClr val="FCC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tx1"/>
                </a:solidFill>
              </a:rPr>
              <a:t>Cloud</a:t>
            </a:r>
          </a:p>
          <a:p>
            <a:pPr algn="ctr"/>
            <a:r>
              <a:rPr lang="en-US" altLang="zh-CN" sz="1000" b="1" dirty="0">
                <a:solidFill>
                  <a:schemeClr val="tx1"/>
                </a:solidFill>
              </a:rPr>
              <a:t>Disk</a:t>
            </a:r>
            <a:endParaRPr lang="zh-CN" altLang="en-US" sz="1000" b="1" dirty="0" err="1">
              <a:solidFill>
                <a:schemeClr val="tx1"/>
              </a:solidFill>
            </a:endParaRPr>
          </a:p>
        </p:txBody>
      </p: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64D2BE58-1EEC-4C49-89EA-EEADCC2AC042}"/>
              </a:ext>
            </a:extLst>
          </p:cNvPr>
          <p:cNvCxnSpPr>
            <a:cxnSpLocks/>
            <a:stCxn id="48" idx="0"/>
          </p:cNvCxnSpPr>
          <p:nvPr/>
        </p:nvCxnSpPr>
        <p:spPr>
          <a:xfrm flipV="1">
            <a:off x="506735" y="2581821"/>
            <a:ext cx="0" cy="2018652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:a16="http://schemas.microsoft.com/office/drawing/2014/main" id="{D76A0EAD-42FD-43D6-94B2-BBB1BE6D2316}"/>
              </a:ext>
            </a:extLst>
          </p:cNvPr>
          <p:cNvCxnSpPr>
            <a:cxnSpLocks/>
          </p:cNvCxnSpPr>
          <p:nvPr/>
        </p:nvCxnSpPr>
        <p:spPr>
          <a:xfrm flipH="1">
            <a:off x="927042" y="4873606"/>
            <a:ext cx="320073" cy="1"/>
          </a:xfrm>
          <a:prstGeom prst="straightConnector1">
            <a:avLst/>
          </a:prstGeom>
          <a:ln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3044" name="Picture 4" descr="查看源图像">
            <a:extLst>
              <a:ext uri="{FF2B5EF4-FFF2-40B4-BE49-F238E27FC236}">
                <a16:creationId xmlns:a16="http://schemas.microsoft.com/office/drawing/2014/main" id="{1FB8BFC8-FD44-4ED4-8C60-D59F3021B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12" y="4854283"/>
            <a:ext cx="371162" cy="37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788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模板</Template>
  <TotalTime>18330</TotalTime>
  <Words>80</Words>
  <Application>Microsoft Office PowerPoint</Application>
  <PresentationFormat>自定义</PresentationFormat>
  <Paragraphs>26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楷体</vt:lpstr>
      <vt:lpstr>微软雅黑</vt:lpstr>
      <vt:lpstr>Arial</vt:lpstr>
      <vt:lpstr>blank</vt:lpstr>
      <vt:lpstr>1_blank</vt:lpstr>
      <vt:lpstr>2_blank</vt:lpstr>
      <vt:lpstr>think-cell Slide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</dc:title>
  <dc:creator>Zheng Qiang</dc:creator>
  <cp:lastModifiedBy>Administrator</cp:lastModifiedBy>
  <cp:revision>3133</cp:revision>
  <cp:lastPrinted>2020-11-04T03:16:15Z</cp:lastPrinted>
  <dcterms:created xsi:type="dcterms:W3CDTF">2017-03-15T03:07:00Z</dcterms:created>
  <dcterms:modified xsi:type="dcterms:W3CDTF">2021-06-14T15:3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日期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  <property fmtid="{D5CDD505-2E9C-101B-9397-08002B2CF9AE}" pid="11" name="KSOProductBuildVer">
    <vt:lpwstr>2052-11.1.0.7849</vt:lpwstr>
  </property>
</Properties>
</file>